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8"/>
  </p:notesMasterIdLst>
  <p:sldIdLst>
    <p:sldId id="275" r:id="rId7"/>
    <p:sldId id="331" r:id="rId8"/>
    <p:sldId id="332" r:id="rId9"/>
    <p:sldId id="335" r:id="rId10"/>
    <p:sldId id="333" r:id="rId11"/>
    <p:sldId id="336" r:id="rId12"/>
    <p:sldId id="334" r:id="rId13"/>
    <p:sldId id="337" r:id="rId14"/>
    <p:sldId id="338" r:id="rId15"/>
    <p:sldId id="340" r:id="rId16"/>
    <p:sldId id="339" r:id="rId17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/>
        </p14:section>
        <p14:section name="Inhalt" id="{9143C095-ADCB-48C6-BBF9-4399ACA44AAA}">
          <p14:sldIdLst>
            <p14:sldId id="331"/>
            <p14:sldId id="332"/>
            <p14:sldId id="335"/>
            <p14:sldId id="333"/>
            <p14:sldId id="336"/>
            <p14:sldId id="334"/>
            <p14:sldId id="337"/>
            <p14:sldId id="338"/>
            <p14:sldId id="340"/>
            <p14:sldId id="339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85" d="100"/>
          <a:sy n="85" d="100"/>
        </p:scale>
        <p:origin x="126" y="75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23.07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rive.google.com/file/d/1X7v-Z8Ry0xJ7vBwV02WrUpMaN5pclBaJ/view?usp=sharing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drive.google.com/file/d/1EiBrWyQVPpX1ixjcpByyvpQQLhaPoHSa/view?usp=sharing" TargetMode="Externa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drive.google.com/file/d/1fG-PhdLHEV-XMgmFp0WZSW3Wvl3pyQ1m/view?usp=sharing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0" y="3578641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4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</a:t>
            </a:r>
            <a:r>
              <a:rPr lang="de-DE" sz="400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W30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56305F2-38AA-4180-8544-05A76069446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Testing</a:t>
            </a:r>
            <a:endParaRPr lang="de-DE" dirty="0"/>
          </a:p>
          <a:p>
            <a:pPr lvl="1"/>
            <a:r>
              <a:rPr lang="de-DE" dirty="0"/>
              <a:t>Bugfixing</a:t>
            </a:r>
          </a:p>
          <a:p>
            <a:pPr lvl="1"/>
            <a:r>
              <a:rPr lang="de-DE" dirty="0"/>
              <a:t>Ggf. Trainingsdaten anpassen</a:t>
            </a:r>
          </a:p>
          <a:p>
            <a:pPr lvl="1"/>
            <a:endParaRPr lang="de-DE" dirty="0"/>
          </a:p>
          <a:p>
            <a:r>
              <a:rPr lang="de-DE" dirty="0"/>
              <a:t>Dokumentation</a:t>
            </a:r>
          </a:p>
          <a:p>
            <a:pPr lvl="1"/>
            <a:r>
              <a:rPr lang="de-DE" dirty="0"/>
              <a:t>CONSENS nachpflegen</a:t>
            </a:r>
          </a:p>
          <a:p>
            <a:endParaRPr lang="de-DE" dirty="0"/>
          </a:p>
          <a:p>
            <a:r>
              <a:rPr lang="de-DE" dirty="0"/>
              <a:t>Gliederung für Masterarbeiten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A525FB-409F-4B5E-B502-DBF9EFABF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A728E4-0AA8-4C11-908B-47415E98BE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BFB0B62-C4F0-4F84-9F1A-E310EBEBBA4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764EF5F-ED62-4207-915D-A851EB1D9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itere Schritte</a:t>
            </a:r>
          </a:p>
        </p:txBody>
      </p:sp>
    </p:spTree>
    <p:extLst>
      <p:ext uri="{BB962C8B-B14F-4D97-AF65-F5344CB8AC3E}">
        <p14:creationId xmlns:p14="http://schemas.microsoft.com/office/powerpoint/2010/main" val="29484096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56305F2-38AA-4180-8544-05A76069446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Performanceunterschied zwischen RNN und Netz mit Hidden Layer…Mehr </a:t>
            </a:r>
            <a:r>
              <a:rPr lang="de-DE" dirty="0" err="1"/>
              <a:t>Overfitting</a:t>
            </a:r>
            <a:r>
              <a:rPr lang="de-DE" dirty="0"/>
              <a:t>?</a:t>
            </a:r>
          </a:p>
          <a:p>
            <a:endParaRPr lang="de-DE" dirty="0"/>
          </a:p>
          <a:p>
            <a:r>
              <a:rPr lang="de-DE" dirty="0"/>
              <a:t>Weitere Aufgaben für die Personenerkennung?</a:t>
            </a:r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A525FB-409F-4B5E-B502-DBF9EFABF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A728E4-0AA8-4C11-908B-47415E98BE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BFB0B62-C4F0-4F84-9F1A-E310EBEBBA4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764EF5F-ED62-4207-915D-A851EB1D9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agen</a:t>
            </a:r>
          </a:p>
        </p:txBody>
      </p:sp>
    </p:spTree>
    <p:extLst>
      <p:ext uri="{BB962C8B-B14F-4D97-AF65-F5344CB8AC3E}">
        <p14:creationId xmlns:p14="http://schemas.microsoft.com/office/powerpoint/2010/main" val="31465040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ute mal anders!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1.) Video anschauen</a:t>
            </a:r>
          </a:p>
          <a:p>
            <a:endParaRPr lang="de-DE" sz="1800" dirty="0"/>
          </a:p>
          <a:p>
            <a:r>
              <a:rPr lang="de-DE" sz="1800" dirty="0"/>
              <a:t>2.) Folgende </a:t>
            </a:r>
            <a:r>
              <a:rPr lang="de-DE" sz="1800" dirty="0" err="1"/>
              <a:t>Erklärfolie</a:t>
            </a:r>
            <a:r>
              <a:rPr lang="de-DE" sz="1800" dirty="0"/>
              <a:t> lesen</a:t>
            </a:r>
          </a:p>
          <a:p>
            <a:endParaRPr lang="de-DE" sz="1800" dirty="0"/>
          </a:p>
          <a:p>
            <a:r>
              <a:rPr lang="de-DE" sz="1800" dirty="0"/>
              <a:t>3.) Fragen stellen. Stille Leser werden hiermit auch animiert Fragen zu stellen ;-)</a:t>
            </a:r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9993128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517B09-3964-42B2-87BC-0FB901D529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328EF6A-AE8D-4EC8-B015-072BF15B0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D24E2C0-2559-438E-A7BD-DAFCB02EF12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BB7513D6-AD36-425A-842A-91AFBC8A8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atemachine</a:t>
            </a:r>
            <a:r>
              <a:rPr lang="de-DE" dirty="0"/>
              <a:t> mit Sprachbedienung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B31FC6BE-3478-4DC3-AA70-A2F0920BA40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Vide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1162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56305F2-38AA-4180-8544-05A76069446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/>
              <a:t>Statemachine</a:t>
            </a:r>
            <a:r>
              <a:rPr lang="de-DE" dirty="0"/>
              <a:t> wird gestartet und bleibt im „</a:t>
            </a:r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“ State (Sensoren und </a:t>
            </a:r>
            <a:r>
              <a:rPr lang="de-DE" dirty="0" err="1"/>
              <a:t>Rviz</a:t>
            </a:r>
            <a:r>
              <a:rPr lang="de-DE" dirty="0"/>
              <a:t> werden hochgefahren)</a:t>
            </a:r>
          </a:p>
          <a:p>
            <a:r>
              <a:rPr lang="de-DE" dirty="0"/>
              <a:t>Eingabe über Sprache: „</a:t>
            </a:r>
            <a:r>
              <a:rPr lang="de-DE" dirty="0" err="1"/>
              <a:t>drive</a:t>
            </a:r>
            <a:r>
              <a:rPr lang="de-DE" dirty="0"/>
              <a:t> </a:t>
            </a:r>
            <a:r>
              <a:rPr lang="de-DE" dirty="0" err="1"/>
              <a:t>manually</a:t>
            </a:r>
            <a:r>
              <a:rPr lang="de-DE" dirty="0"/>
              <a:t> and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joystick</a:t>
            </a:r>
            <a:r>
              <a:rPr lang="de-DE" dirty="0"/>
              <a:t>“ (Transkript wird ebenfalls gefilmt)</a:t>
            </a:r>
          </a:p>
          <a:p>
            <a:r>
              <a:rPr lang="de-DE" dirty="0"/>
              <a:t>Obwohl das Transkript falsch ist klassifiziert der Roboter die Handlung korrekt</a:t>
            </a:r>
          </a:p>
          <a:p>
            <a:r>
              <a:rPr lang="de-DE" dirty="0"/>
              <a:t>„</a:t>
            </a:r>
            <a:r>
              <a:rPr lang="de-DE" dirty="0" err="1"/>
              <a:t>drive</a:t>
            </a:r>
            <a:r>
              <a:rPr lang="de-DE" dirty="0"/>
              <a:t>“ &amp; „</a:t>
            </a:r>
            <a:r>
              <a:rPr lang="de-DE" dirty="0" err="1"/>
              <a:t>manual</a:t>
            </a:r>
            <a:r>
              <a:rPr lang="de-DE" dirty="0"/>
              <a:t>“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</a:t>
            </a:r>
            <a:r>
              <a:rPr lang="de-DE" dirty="0" err="1"/>
              <a:t>localization</a:t>
            </a:r>
            <a:r>
              <a:rPr lang="de-DE" dirty="0"/>
              <a:t> (Karte &amp; und Partikelfilter)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drive</a:t>
            </a:r>
            <a:r>
              <a:rPr lang="de-DE" dirty="0">
                <a:sym typeface="Wingdings" panose="05000000000000000000" pitchFamily="2" charset="2"/>
              </a:rPr>
              <a:t>  </a:t>
            </a:r>
            <a:r>
              <a:rPr lang="de-DE" dirty="0" err="1">
                <a:sym typeface="Wingdings" panose="05000000000000000000" pitchFamily="2" charset="2"/>
              </a:rPr>
              <a:t>driv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manually</a:t>
            </a:r>
            <a:r>
              <a:rPr lang="de-DE" dirty="0">
                <a:sym typeface="Wingdings" panose="05000000000000000000" pitchFamily="2" charset="2"/>
              </a:rPr>
              <a:t> (Joystick, Move Base und alles Nötige zur Bewegungsumsetzung via Joystick. State wird jederzeit angezeigt)</a:t>
            </a:r>
            <a:r>
              <a:rPr lang="de-DE" dirty="0"/>
              <a:t>  </a:t>
            </a:r>
          </a:p>
          <a:p>
            <a:r>
              <a:rPr lang="de-DE" dirty="0"/>
              <a:t>Hannes kann dann den Roboter ohne bisher einen Knopf gedrückt zu haben den Roboter steuern</a:t>
            </a:r>
          </a:p>
          <a:p>
            <a:r>
              <a:rPr lang="de-DE" dirty="0"/>
              <a:t>Eingabe: „</a:t>
            </a:r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commands</a:t>
            </a:r>
            <a:r>
              <a:rPr lang="de-DE" dirty="0"/>
              <a:t>“</a:t>
            </a:r>
          </a:p>
          <a:p>
            <a:r>
              <a:rPr lang="de-DE" dirty="0"/>
              <a:t>Transkript korrekt und Wechsel in den Modus „</a:t>
            </a:r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“ wird veranlasst (Bevor bspw. ein autonomer Fahrmodus eingestellt werden soll muss in „</a:t>
            </a:r>
            <a:r>
              <a:rPr lang="de-DE" dirty="0" err="1"/>
              <a:t>wai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„ gewechselt werden). Hierbei wird das ROS Netzwerk heruntergefahren und sofort wieder eingeschaltet. Zustand s.o.</a:t>
            </a:r>
          </a:p>
          <a:p>
            <a:r>
              <a:rPr lang="de-DE" dirty="0"/>
              <a:t>Nun folgt ein kleiner Bug: „</a:t>
            </a:r>
            <a:r>
              <a:rPr lang="de-DE" dirty="0" err="1"/>
              <a:t>dri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laboratory</a:t>
            </a:r>
            <a:r>
              <a:rPr lang="de-DE" dirty="0"/>
              <a:t>“ wird erfolgreich transkribiert und das entsprechende Ziel wird veröffentlicht bevor Move Base hochgefahren ist. Move Base sollte jedoch wie im folgenden Video ein Ziel haben und eine Trajektorie planen.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A525FB-409F-4B5E-B502-DBF9EFABF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A728E4-0AA8-4C11-908B-47415E98BE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BFB0B62-C4F0-4F84-9F1A-E310EBEBBA4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764EF5F-ED62-4207-915D-A851EB1D9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atemachine</a:t>
            </a:r>
            <a:r>
              <a:rPr lang="de-DE" dirty="0"/>
              <a:t> mit Sprachbedienung</a:t>
            </a:r>
          </a:p>
        </p:txBody>
      </p:sp>
    </p:spTree>
    <p:extLst>
      <p:ext uri="{BB962C8B-B14F-4D97-AF65-F5344CB8AC3E}">
        <p14:creationId xmlns:p14="http://schemas.microsoft.com/office/powerpoint/2010/main" val="810616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517B09-3964-42B2-87BC-0FB901D529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328EF6A-AE8D-4EC8-B015-072BF15B0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D24E2C0-2559-438E-A7BD-DAFCB02EF12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BB7513D6-AD36-425A-842A-91AFBC8A8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atemachine</a:t>
            </a:r>
            <a:r>
              <a:rPr lang="de-DE" dirty="0"/>
              <a:t> mit Sprachbedien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109B52-9554-47B1-960F-0A5DFE021BC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Vide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59617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56305F2-38AA-4180-8544-05A76069446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Eingabe „</a:t>
            </a:r>
            <a:r>
              <a:rPr lang="de-DE" dirty="0" err="1"/>
              <a:t>dri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ocation</a:t>
            </a:r>
            <a:r>
              <a:rPr lang="de-DE" dirty="0"/>
              <a:t>“ wird korrekt klassifiziert (</a:t>
            </a:r>
            <a:r>
              <a:rPr lang="de-DE" dirty="0" err="1"/>
              <a:t>drive</a:t>
            </a:r>
            <a:r>
              <a:rPr lang="de-DE" dirty="0"/>
              <a:t> &amp; autonom) jedoch wurde kein Ziel erkannt</a:t>
            </a:r>
          </a:p>
          <a:p>
            <a:r>
              <a:rPr lang="de-DE" dirty="0"/>
              <a:t>Während der Roboter die weitere Konversation mit Hannes führt (Nachfrage der Location) fährt es schonmal alle nötigen Systeme (auch Move Base) hoch um die autonome Fahraufgabe zu erledigen.</a:t>
            </a:r>
          </a:p>
          <a:p>
            <a:r>
              <a:rPr lang="de-DE" dirty="0"/>
              <a:t>Eingabe „</a:t>
            </a:r>
            <a:r>
              <a:rPr lang="de-DE" dirty="0" err="1"/>
              <a:t>laboratory</a:t>
            </a:r>
            <a:r>
              <a:rPr lang="de-DE" dirty="0"/>
              <a:t>“ bewirkt dann eine Veröffentlichung einer </a:t>
            </a:r>
            <a:r>
              <a:rPr lang="de-DE"/>
              <a:t>Zielpose </a:t>
            </a:r>
            <a:r>
              <a:rPr lang="de-DE" dirty="0"/>
              <a:t>wenn Move Base bereits hochgefahren ist und der Roboter kann losfahren</a:t>
            </a:r>
          </a:p>
          <a:p>
            <a:endParaRPr lang="de-DE" dirty="0"/>
          </a:p>
          <a:p>
            <a:pPr lvl="1"/>
            <a:r>
              <a:rPr lang="de-DE" dirty="0"/>
              <a:t>Giulianos Vorschlag: Solange Move Base/Status abfragen bis der Knoten oben ist, dann veröffentlichen (Hannes sagt doofe Idee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A525FB-409F-4B5E-B502-DBF9EFABF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A728E4-0AA8-4C11-908B-47415E98BE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BFB0B62-C4F0-4F84-9F1A-E310EBEBBA4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764EF5F-ED62-4207-915D-A851EB1D9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tatemachine</a:t>
            </a:r>
            <a:r>
              <a:rPr lang="de-DE" dirty="0"/>
              <a:t> mit Sprachbedienung</a:t>
            </a:r>
          </a:p>
        </p:txBody>
      </p:sp>
    </p:spTree>
    <p:extLst>
      <p:ext uri="{BB962C8B-B14F-4D97-AF65-F5344CB8AC3E}">
        <p14:creationId xmlns:p14="http://schemas.microsoft.com/office/powerpoint/2010/main" val="20348040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517B09-3964-42B2-87BC-0FB901D529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328EF6A-AE8D-4EC8-B015-072BF15B0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D24E2C0-2559-438E-A7BD-DAFCB02EF12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BB7513D6-AD36-425A-842A-91AFBC8A8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rsonenerkenn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644E23-E7F8-495A-B383-05F63F52628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Vide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7578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56305F2-38AA-4180-8544-05A76069446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Programm wird gestartet</a:t>
            </a:r>
          </a:p>
          <a:p>
            <a:r>
              <a:rPr lang="de-DE" dirty="0"/>
              <a:t>An „</a:t>
            </a:r>
            <a:r>
              <a:rPr lang="de-DE" dirty="0" err="1"/>
              <a:t>empty</a:t>
            </a:r>
            <a:r>
              <a:rPr lang="de-DE" dirty="0"/>
              <a:t> </a:t>
            </a:r>
            <a:r>
              <a:rPr lang="de-DE" dirty="0" err="1"/>
              <a:t>file</a:t>
            </a:r>
            <a:r>
              <a:rPr lang="de-DE" dirty="0"/>
              <a:t>“ erkennt man, dass das „Gedächtnis“ in dem Moment leer ist</a:t>
            </a:r>
          </a:p>
          <a:p>
            <a:r>
              <a:rPr lang="de-DE" dirty="0"/>
              <a:t>Hannes wird registriert in dem er alleine vor der Kamera sitzt oder steht und vor ca. 5 Sekunden (Zeit kann variieren) in die Kamera schaut und dann seinen Namen eingibt</a:t>
            </a:r>
          </a:p>
          <a:p>
            <a:r>
              <a:rPr lang="de-DE" dirty="0"/>
              <a:t>Giuliano lässt sich auch registrieren</a:t>
            </a:r>
          </a:p>
          <a:p>
            <a:r>
              <a:rPr lang="de-DE" dirty="0"/>
              <a:t>Hannes lässt sich dann von der Kamera erkennen und wird (aktuell nach 60s </a:t>
            </a:r>
            <a:r>
              <a:rPr lang="de-DE" dirty="0" err="1"/>
              <a:t>Cooldown</a:t>
            </a:r>
            <a:r>
              <a:rPr lang="de-DE" dirty="0"/>
              <a:t>) wieder erkannt, mit seinem Namen begrüßt, neu vermessen und abgespeichert.</a:t>
            </a:r>
          </a:p>
          <a:p>
            <a:r>
              <a:rPr lang="de-DE" dirty="0"/>
              <a:t>Jede erkannte Person wird auch nach Programm Shutdown auf beiden Kameras wieder erkannt.</a:t>
            </a:r>
          </a:p>
          <a:p>
            <a:r>
              <a:rPr lang="de-DE" dirty="0"/>
              <a:t>Die Nudelpackung ist für das Video nicht relevant</a:t>
            </a:r>
          </a:p>
          <a:p>
            <a:endParaRPr lang="de-DE" dirty="0"/>
          </a:p>
          <a:p>
            <a:pPr lvl="1"/>
            <a:r>
              <a:rPr lang="de-DE" dirty="0" err="1"/>
              <a:t>Blob</a:t>
            </a:r>
            <a:r>
              <a:rPr lang="de-DE" dirty="0"/>
              <a:t> </a:t>
            </a:r>
            <a:r>
              <a:rPr lang="de-DE" dirty="0" err="1"/>
              <a:t>detection</a:t>
            </a:r>
            <a:r>
              <a:rPr lang="de-DE" dirty="0"/>
              <a:t> wurde verworfen und das Programm wird nun verlangsamt solange keine Person gesehen wird</a:t>
            </a:r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A525FB-409F-4B5E-B502-DBF9EFABF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A728E4-0AA8-4C11-908B-47415E98BE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BFB0B62-C4F0-4F84-9F1A-E310EBEBBA4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764EF5F-ED62-4207-915D-A851EB1D9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rsonenerkennung</a:t>
            </a:r>
          </a:p>
        </p:txBody>
      </p:sp>
    </p:spTree>
    <p:extLst>
      <p:ext uri="{BB962C8B-B14F-4D97-AF65-F5344CB8AC3E}">
        <p14:creationId xmlns:p14="http://schemas.microsoft.com/office/powerpoint/2010/main" val="2325185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56305F2-38AA-4180-8544-05A76069446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Hochzeit der beiden Projekte</a:t>
            </a:r>
          </a:p>
          <a:p>
            <a:endParaRPr lang="de-DE" dirty="0"/>
          </a:p>
          <a:p>
            <a:r>
              <a:rPr lang="de-DE" dirty="0"/>
              <a:t>Bugfixing</a:t>
            </a:r>
          </a:p>
          <a:p>
            <a:endParaRPr lang="de-DE" dirty="0"/>
          </a:p>
          <a:p>
            <a:r>
              <a:rPr lang="de-DE" dirty="0"/>
              <a:t>Konversation verbessert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A525FB-409F-4B5E-B502-DBF9EFABF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A728E4-0AA8-4C11-908B-47415E98BE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BFB0B62-C4F0-4F84-9F1A-E310EBEBBA4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764EF5F-ED62-4207-915D-A851EB1D9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noch passiert?</a:t>
            </a:r>
          </a:p>
        </p:txBody>
      </p:sp>
    </p:spTree>
    <p:extLst>
      <p:ext uri="{BB962C8B-B14F-4D97-AF65-F5344CB8AC3E}">
        <p14:creationId xmlns:p14="http://schemas.microsoft.com/office/powerpoint/2010/main" val="5130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571</Words>
  <Application>Microsoft Office PowerPoint</Application>
  <PresentationFormat>Breitbild</PresentationFormat>
  <Paragraphs>99</Paragraphs>
  <Slides>1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Heute mal anders!</vt:lpstr>
      <vt:lpstr>Statemachine mit Sprachbedienung</vt:lpstr>
      <vt:lpstr>Statemachine mit Sprachbedienung</vt:lpstr>
      <vt:lpstr>Statemachine mit Sprachbedienung</vt:lpstr>
      <vt:lpstr>Statemachine mit Sprachbedienung</vt:lpstr>
      <vt:lpstr>Personenerkennung</vt:lpstr>
      <vt:lpstr>Personenerkennung</vt:lpstr>
      <vt:lpstr>Was ist noch passiert?</vt:lpstr>
      <vt:lpstr>Weitere Schritte</vt:lpstr>
      <vt:lpstr>Fragen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Giuliano 'Giulli' Montorio</cp:lastModifiedBy>
  <cp:revision>42</cp:revision>
  <dcterms:created xsi:type="dcterms:W3CDTF">2019-09-25T11:15:24Z</dcterms:created>
  <dcterms:modified xsi:type="dcterms:W3CDTF">2020-07-23T07:1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